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3"/>
  </p:notesMasterIdLst>
  <p:sldIdLst>
    <p:sldId id="269" r:id="rId2"/>
  </p:sldIdLst>
  <p:sldSz cx="7556500" cy="10693400"/>
  <p:notesSz cx="6858000" cy="9144000"/>
  <p:embeddedFontLst>
    <p:embeddedFont>
      <p:font typeface="Chicle" panose="02000506000000020003" pitchFamily="2" charset="0"/>
      <p:regular r:id="rId4"/>
    </p:embeddedFont>
    <p:embeddedFont>
      <p:font typeface="Fredoka SemiBold" pitchFamily="2" charset="-79"/>
      <p:bold r:id="rId5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43A1C"/>
    <a:srgbClr val="493C38"/>
    <a:srgbClr val="1A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 autoAdjust="0"/>
    <p:restoredTop sz="94892" autoAdjust="0"/>
  </p:normalViewPr>
  <p:slideViewPr>
    <p:cSldViewPr>
      <p:cViewPr varScale="1">
        <p:scale>
          <a:sx n="49" d="100"/>
          <a:sy n="49" d="100"/>
        </p:scale>
        <p:origin x="2069" y="67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font" Target="fonts/font2.fntdata"/><Relationship Id="rId4" Type="http://schemas.openxmlformats.org/officeDocument/2006/relationships/font" Target="fonts/font1.fntdata"/><Relationship Id="rId9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00C5788-13AB-428C-BE5B-E1402B5FD54A}" type="datetimeFigureOut">
              <a:rPr lang="en-US" smtClean="0"/>
              <a:t>8/9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338388" y="1143000"/>
            <a:ext cx="21812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56425C-4397-4F79-B682-DE4D12F9556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9306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56425C-4397-4F79-B682-DE4D12F9556E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16704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9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9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9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9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9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9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9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9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9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9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9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8/9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B48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Taco Bar #3">
            <a:extLst>
              <a:ext uri="{FF2B5EF4-FFF2-40B4-BE49-F238E27FC236}">
                <a16:creationId xmlns:a16="http://schemas.microsoft.com/office/drawing/2014/main" id="{39E1DC95-B893-9D3D-6BD0-6A87BC13072B}"/>
              </a:ext>
            </a:extLst>
          </p:cNvPr>
          <p:cNvGrpSpPr/>
          <p:nvPr/>
        </p:nvGrpSpPr>
        <p:grpSpPr>
          <a:xfrm>
            <a:off x="0" y="0"/>
            <a:ext cx="7556500" cy="10458220"/>
            <a:chOff x="0" y="0"/>
            <a:chExt cx="7556500" cy="10458220"/>
          </a:xfrm>
        </p:grpSpPr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5D8CA967-A097-5082-58A6-0FF08D4E8836}"/>
                </a:ext>
              </a:extLst>
            </p:cNvPr>
            <p:cNvGrpSpPr/>
            <p:nvPr/>
          </p:nvGrpSpPr>
          <p:grpSpPr>
            <a:xfrm>
              <a:off x="0" y="0"/>
              <a:ext cx="7556500" cy="4845355"/>
              <a:chOff x="0" y="0"/>
              <a:chExt cx="7556500" cy="4845355"/>
            </a:xfrm>
          </p:grpSpPr>
          <p:sp>
            <p:nvSpPr>
              <p:cNvPr id="2" name="Image"/>
              <p:cNvSpPr/>
              <p:nvPr/>
            </p:nvSpPr>
            <p:spPr>
              <a:xfrm>
                <a:off x="214250" y="259200"/>
                <a:ext cx="7128000" cy="4487400"/>
              </a:xfrm>
              <a:custGeom>
                <a:avLst/>
                <a:gdLst/>
                <a:ahLst/>
                <a:cxnLst/>
                <a:rect l="l" t="t" r="r" b="b"/>
                <a:pathLst>
                  <a:path w="7128000" h="4487400">
                    <a:moveTo>
                      <a:pt x="0" y="0"/>
                    </a:moveTo>
                    <a:lnTo>
                      <a:pt x="7128000" y="0"/>
                    </a:lnTo>
                    <a:lnTo>
                      <a:pt x="7128000" y="4487400"/>
                    </a:lnTo>
                    <a:lnTo>
                      <a:pt x="0" y="4487400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4"/>
                <a:stretch>
                  <a:fillRect t="-2120" b="-2120"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2BB7F369-6C05-1C2C-B1CA-5B39241E6246}"/>
                  </a:ext>
                </a:extLst>
              </p:cNvPr>
              <p:cNvSpPr/>
              <p:nvPr/>
            </p:nvSpPr>
            <p:spPr>
              <a:xfrm>
                <a:off x="0" y="0"/>
                <a:ext cx="1721219" cy="2228664"/>
              </a:xfrm>
              <a:custGeom>
                <a:avLst/>
                <a:gdLst>
                  <a:gd name="connsiteX0" fmla="*/ 0 w 1721219"/>
                  <a:gd name="connsiteY0" fmla="*/ 0 h 2228664"/>
                  <a:gd name="connsiteX1" fmla="*/ 1515403 w 1721219"/>
                  <a:gd name="connsiteY1" fmla="*/ 0 h 2228664"/>
                  <a:gd name="connsiteX2" fmla="*/ 1721219 w 1721219"/>
                  <a:gd name="connsiteY2" fmla="*/ 205817 h 2228664"/>
                  <a:gd name="connsiteX3" fmla="*/ 1721219 w 1721219"/>
                  <a:gd name="connsiteY3" fmla="*/ 2022848 h 2228664"/>
                  <a:gd name="connsiteX4" fmla="*/ 1515403 w 1721219"/>
                  <a:gd name="connsiteY4" fmla="*/ 2228664 h 2228664"/>
                  <a:gd name="connsiteX5" fmla="*/ 0 w 1721219"/>
                  <a:gd name="connsiteY5" fmla="*/ 2228664 h 2228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21219" h="2228664">
                    <a:moveTo>
                      <a:pt x="0" y="0"/>
                    </a:moveTo>
                    <a:lnTo>
                      <a:pt x="1515403" y="0"/>
                    </a:lnTo>
                    <a:cubicBezTo>
                      <a:pt x="1629070" y="0"/>
                      <a:pt x="1721219" y="92146"/>
                      <a:pt x="1721219" y="205817"/>
                    </a:cubicBezTo>
                    <a:lnTo>
                      <a:pt x="1721219" y="2022848"/>
                    </a:lnTo>
                    <a:cubicBezTo>
                      <a:pt x="1721219" y="2136515"/>
                      <a:pt x="1629070" y="2228664"/>
                      <a:pt x="1515403" y="2228664"/>
                    </a:cubicBezTo>
                    <a:lnTo>
                      <a:pt x="0" y="2228664"/>
                    </a:lnTo>
                    <a:close/>
                  </a:path>
                </a:pathLst>
              </a:custGeom>
              <a:solidFill>
                <a:srgbClr val="2B4854"/>
              </a:solidFill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882CB565-DE19-456C-57F8-D73E15903A9A}"/>
                  </a:ext>
                </a:extLst>
              </p:cNvPr>
              <p:cNvSpPr/>
              <p:nvPr/>
            </p:nvSpPr>
            <p:spPr>
              <a:xfrm>
                <a:off x="4752894" y="3949310"/>
                <a:ext cx="2803606" cy="896045"/>
              </a:xfrm>
              <a:custGeom>
                <a:avLst/>
                <a:gdLst>
                  <a:gd name="connsiteX0" fmla="*/ 108272 w 2803606"/>
                  <a:gd name="connsiteY0" fmla="*/ 0 h 896045"/>
                  <a:gd name="connsiteX1" fmla="*/ 2803606 w 2803606"/>
                  <a:gd name="connsiteY1" fmla="*/ 0 h 896045"/>
                  <a:gd name="connsiteX2" fmla="*/ 2803606 w 2803606"/>
                  <a:gd name="connsiteY2" fmla="*/ 896045 h 896045"/>
                  <a:gd name="connsiteX3" fmla="*/ 108272 w 2803606"/>
                  <a:gd name="connsiteY3" fmla="*/ 896045 h 896045"/>
                  <a:gd name="connsiteX4" fmla="*/ 0 w 2803606"/>
                  <a:gd name="connsiteY4" fmla="*/ 787777 h 896045"/>
                  <a:gd name="connsiteX5" fmla="*/ 0 w 2803606"/>
                  <a:gd name="connsiteY5" fmla="*/ 108272 h 896045"/>
                  <a:gd name="connsiteX6" fmla="*/ 108272 w 2803606"/>
                  <a:gd name="connsiteY6" fmla="*/ 0 h 8960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03606" h="896045">
                    <a:moveTo>
                      <a:pt x="108272" y="0"/>
                    </a:moveTo>
                    <a:lnTo>
                      <a:pt x="2803606" y="0"/>
                    </a:lnTo>
                    <a:lnTo>
                      <a:pt x="2803606" y="896045"/>
                    </a:lnTo>
                    <a:lnTo>
                      <a:pt x="108272" y="896045"/>
                    </a:lnTo>
                    <a:cubicBezTo>
                      <a:pt x="48474" y="896045"/>
                      <a:pt x="0" y="847571"/>
                      <a:pt x="0" y="787777"/>
                    </a:cubicBezTo>
                    <a:lnTo>
                      <a:pt x="0" y="108272"/>
                    </a:lnTo>
                    <a:cubicBezTo>
                      <a:pt x="0" y="48474"/>
                      <a:pt x="48474" y="0"/>
                      <a:pt x="108272" y="0"/>
                    </a:cubicBezTo>
                    <a:close/>
                  </a:path>
                </a:pathLst>
              </a:custGeom>
              <a:solidFill>
                <a:srgbClr val="2B4854"/>
              </a:solidFill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9" name="AutoShape 9"/>
              <p:cNvSpPr/>
              <p:nvPr/>
            </p:nvSpPr>
            <p:spPr>
              <a:xfrm>
                <a:off x="5778090" y="4238249"/>
                <a:ext cx="1565910" cy="0"/>
              </a:xfrm>
              <a:prstGeom prst="line">
                <a:avLst/>
              </a:prstGeom>
              <a:ln w="28575" cap="flat">
                <a:solidFill>
                  <a:srgbClr val="FFFEF5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</p:grp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8CE83441-E644-500B-68D2-B34E7FF53E73}"/>
                </a:ext>
              </a:extLst>
            </p:cNvPr>
            <p:cNvGrpSpPr/>
            <p:nvPr/>
          </p:nvGrpSpPr>
          <p:grpSpPr>
            <a:xfrm>
              <a:off x="214250" y="4962600"/>
              <a:ext cx="7128000" cy="5495620"/>
              <a:chOff x="214250" y="4962600"/>
              <a:chExt cx="7128000" cy="5495620"/>
            </a:xfrm>
          </p:grpSpPr>
          <p:sp>
            <p:nvSpPr>
              <p:cNvPr id="11" name="Freeform 11"/>
              <p:cNvSpPr/>
              <p:nvPr/>
            </p:nvSpPr>
            <p:spPr>
              <a:xfrm>
                <a:off x="214250" y="4962600"/>
                <a:ext cx="7128000" cy="333585"/>
              </a:xfrm>
              <a:prstGeom prst="roundRect">
                <a:avLst>
                  <a:gd name="adj" fmla="val 36294"/>
                </a:avLst>
              </a:prstGeom>
              <a:solidFill>
                <a:srgbClr val="FFFEF5"/>
              </a:solidFill>
              <a:ln>
                <a:noFill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4" name="Freeform 14"/>
              <p:cNvSpPr/>
              <p:nvPr/>
            </p:nvSpPr>
            <p:spPr>
              <a:xfrm>
                <a:off x="223140" y="5410485"/>
                <a:ext cx="7110220" cy="5047735"/>
              </a:xfrm>
              <a:prstGeom prst="roundRect">
                <a:avLst>
                  <a:gd name="adj" fmla="val 3483"/>
                </a:avLst>
              </a:prstGeom>
              <a:solidFill>
                <a:srgbClr val="FFFEF5"/>
              </a:solid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5" name="AutoShape 25"/>
              <p:cNvSpPr/>
              <p:nvPr/>
            </p:nvSpPr>
            <p:spPr>
              <a:xfrm>
                <a:off x="461949" y="6223014"/>
                <a:ext cx="2016288" cy="0"/>
              </a:xfrm>
              <a:prstGeom prst="line">
                <a:avLst/>
              </a:prstGeom>
              <a:ln w="6350" cap="flat">
                <a:solidFill>
                  <a:srgbClr val="2B4854">
                    <a:alpha val="36863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6" name="AutoShape 26"/>
              <p:cNvSpPr/>
              <p:nvPr/>
            </p:nvSpPr>
            <p:spPr>
              <a:xfrm>
                <a:off x="461949" y="5864637"/>
                <a:ext cx="2016288" cy="0"/>
              </a:xfrm>
              <a:prstGeom prst="line">
                <a:avLst/>
              </a:prstGeom>
              <a:ln w="6350" cap="flat">
                <a:solidFill>
                  <a:srgbClr val="2B4854">
                    <a:alpha val="36863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7" name="AutoShape 27"/>
              <p:cNvSpPr/>
              <p:nvPr/>
            </p:nvSpPr>
            <p:spPr>
              <a:xfrm>
                <a:off x="461949" y="6581392"/>
                <a:ext cx="2016288" cy="0"/>
              </a:xfrm>
              <a:prstGeom prst="line">
                <a:avLst/>
              </a:prstGeom>
              <a:ln w="6350" cap="flat">
                <a:solidFill>
                  <a:srgbClr val="2B4854">
                    <a:alpha val="36863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8" name="AutoShape 28"/>
              <p:cNvSpPr/>
              <p:nvPr/>
            </p:nvSpPr>
            <p:spPr>
              <a:xfrm>
                <a:off x="461949" y="6939769"/>
                <a:ext cx="2016288" cy="0"/>
              </a:xfrm>
              <a:prstGeom prst="line">
                <a:avLst/>
              </a:prstGeom>
              <a:ln w="6350" cap="flat">
                <a:solidFill>
                  <a:srgbClr val="2B4854">
                    <a:alpha val="36863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9" name="AutoShape 29"/>
              <p:cNvSpPr/>
              <p:nvPr/>
            </p:nvSpPr>
            <p:spPr>
              <a:xfrm>
                <a:off x="461949" y="7298146"/>
                <a:ext cx="2016288" cy="0"/>
              </a:xfrm>
              <a:prstGeom prst="line">
                <a:avLst/>
              </a:prstGeom>
              <a:ln w="6350" cap="flat">
                <a:solidFill>
                  <a:srgbClr val="2B4854">
                    <a:alpha val="36863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0" name="AutoShape 30"/>
              <p:cNvSpPr/>
              <p:nvPr/>
            </p:nvSpPr>
            <p:spPr>
              <a:xfrm>
                <a:off x="461949" y="7656523"/>
                <a:ext cx="2016288" cy="0"/>
              </a:xfrm>
              <a:prstGeom prst="line">
                <a:avLst/>
              </a:prstGeom>
              <a:ln w="6350" cap="flat">
                <a:solidFill>
                  <a:srgbClr val="2B4854">
                    <a:alpha val="36863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1" name="AutoShape 31"/>
              <p:cNvSpPr/>
              <p:nvPr/>
            </p:nvSpPr>
            <p:spPr>
              <a:xfrm>
                <a:off x="461949" y="8014901"/>
                <a:ext cx="2016288" cy="0"/>
              </a:xfrm>
              <a:prstGeom prst="line">
                <a:avLst/>
              </a:prstGeom>
              <a:ln w="6350" cap="flat">
                <a:solidFill>
                  <a:srgbClr val="2B4854">
                    <a:alpha val="36863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2" name="AutoShape 32"/>
              <p:cNvSpPr/>
              <p:nvPr/>
            </p:nvSpPr>
            <p:spPr>
              <a:xfrm>
                <a:off x="461949" y="8373278"/>
                <a:ext cx="2016288" cy="0"/>
              </a:xfrm>
              <a:prstGeom prst="line">
                <a:avLst/>
              </a:prstGeom>
              <a:ln w="6350" cap="flat">
                <a:solidFill>
                  <a:srgbClr val="2B4854">
                    <a:alpha val="36863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3" name="AutoShape 33"/>
              <p:cNvSpPr/>
              <p:nvPr/>
            </p:nvSpPr>
            <p:spPr>
              <a:xfrm>
                <a:off x="461949" y="8731655"/>
                <a:ext cx="2016288" cy="0"/>
              </a:xfrm>
              <a:prstGeom prst="line">
                <a:avLst/>
              </a:prstGeom>
              <a:ln w="6350" cap="flat">
                <a:solidFill>
                  <a:srgbClr val="2B4854">
                    <a:alpha val="36863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4" name="AutoShape 34"/>
              <p:cNvSpPr/>
              <p:nvPr/>
            </p:nvSpPr>
            <p:spPr>
              <a:xfrm>
                <a:off x="461949" y="9090032"/>
                <a:ext cx="2016288" cy="0"/>
              </a:xfrm>
              <a:prstGeom prst="line">
                <a:avLst/>
              </a:prstGeom>
              <a:ln w="6350" cap="flat">
                <a:solidFill>
                  <a:srgbClr val="2B4854">
                    <a:alpha val="36863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5" name="AutoShape 35"/>
              <p:cNvSpPr/>
              <p:nvPr/>
            </p:nvSpPr>
            <p:spPr>
              <a:xfrm>
                <a:off x="461949" y="9448410"/>
                <a:ext cx="2016288" cy="0"/>
              </a:xfrm>
              <a:prstGeom prst="line">
                <a:avLst/>
              </a:prstGeom>
              <a:ln w="6350" cap="flat">
                <a:solidFill>
                  <a:srgbClr val="2B4854">
                    <a:alpha val="36863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6" name="AutoShape 36"/>
              <p:cNvSpPr/>
              <p:nvPr/>
            </p:nvSpPr>
            <p:spPr>
              <a:xfrm>
                <a:off x="461949" y="9806787"/>
                <a:ext cx="2016288" cy="0"/>
              </a:xfrm>
              <a:prstGeom prst="line">
                <a:avLst/>
              </a:prstGeom>
              <a:ln w="6350" cap="flat">
                <a:solidFill>
                  <a:srgbClr val="2B4854">
                    <a:alpha val="36863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7" name="AutoShape 37"/>
              <p:cNvSpPr/>
              <p:nvPr/>
            </p:nvSpPr>
            <p:spPr>
              <a:xfrm>
                <a:off x="461949" y="10165164"/>
                <a:ext cx="2016288" cy="0"/>
              </a:xfrm>
              <a:prstGeom prst="line">
                <a:avLst/>
              </a:prstGeom>
              <a:ln w="6350" cap="flat">
                <a:solidFill>
                  <a:srgbClr val="2B4854">
                    <a:alpha val="36863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9" name="AutoShape 39"/>
              <p:cNvSpPr/>
              <p:nvPr/>
            </p:nvSpPr>
            <p:spPr>
              <a:xfrm>
                <a:off x="2762966" y="6223014"/>
                <a:ext cx="2016288" cy="0"/>
              </a:xfrm>
              <a:prstGeom prst="line">
                <a:avLst/>
              </a:prstGeom>
              <a:ln w="6350" cap="flat">
                <a:solidFill>
                  <a:srgbClr val="2B4854">
                    <a:alpha val="36863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0" name="AutoShape 40"/>
              <p:cNvSpPr/>
              <p:nvPr/>
            </p:nvSpPr>
            <p:spPr>
              <a:xfrm>
                <a:off x="2762966" y="5864637"/>
                <a:ext cx="2016288" cy="0"/>
              </a:xfrm>
              <a:prstGeom prst="line">
                <a:avLst/>
              </a:prstGeom>
              <a:ln w="6350" cap="flat">
                <a:solidFill>
                  <a:srgbClr val="2B4854">
                    <a:alpha val="36863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1" name="AutoShape 41"/>
              <p:cNvSpPr/>
              <p:nvPr/>
            </p:nvSpPr>
            <p:spPr>
              <a:xfrm>
                <a:off x="2762966" y="6581392"/>
                <a:ext cx="2016288" cy="0"/>
              </a:xfrm>
              <a:prstGeom prst="line">
                <a:avLst/>
              </a:prstGeom>
              <a:ln w="6350" cap="flat">
                <a:solidFill>
                  <a:srgbClr val="2B4854">
                    <a:alpha val="36863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2" name="AutoShape 42"/>
              <p:cNvSpPr/>
              <p:nvPr/>
            </p:nvSpPr>
            <p:spPr>
              <a:xfrm>
                <a:off x="2762966" y="6939769"/>
                <a:ext cx="2016288" cy="0"/>
              </a:xfrm>
              <a:prstGeom prst="line">
                <a:avLst/>
              </a:prstGeom>
              <a:ln w="6350" cap="flat">
                <a:solidFill>
                  <a:srgbClr val="2B4854">
                    <a:alpha val="36863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3" name="AutoShape 43"/>
              <p:cNvSpPr/>
              <p:nvPr/>
            </p:nvSpPr>
            <p:spPr>
              <a:xfrm>
                <a:off x="2762966" y="7298146"/>
                <a:ext cx="2016288" cy="0"/>
              </a:xfrm>
              <a:prstGeom prst="line">
                <a:avLst/>
              </a:prstGeom>
              <a:ln w="6350" cap="flat">
                <a:solidFill>
                  <a:srgbClr val="2B4854">
                    <a:alpha val="36863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4" name="AutoShape 44"/>
              <p:cNvSpPr/>
              <p:nvPr/>
            </p:nvSpPr>
            <p:spPr>
              <a:xfrm>
                <a:off x="2762966" y="7656523"/>
                <a:ext cx="2016288" cy="0"/>
              </a:xfrm>
              <a:prstGeom prst="line">
                <a:avLst/>
              </a:prstGeom>
              <a:ln w="6350" cap="flat">
                <a:solidFill>
                  <a:srgbClr val="2B4854">
                    <a:alpha val="36863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5" name="AutoShape 45"/>
              <p:cNvSpPr/>
              <p:nvPr/>
            </p:nvSpPr>
            <p:spPr>
              <a:xfrm>
                <a:off x="2762966" y="8014901"/>
                <a:ext cx="2016288" cy="0"/>
              </a:xfrm>
              <a:prstGeom prst="line">
                <a:avLst/>
              </a:prstGeom>
              <a:ln w="6350" cap="flat">
                <a:solidFill>
                  <a:srgbClr val="2B4854">
                    <a:alpha val="36863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6" name="AutoShape 46"/>
              <p:cNvSpPr/>
              <p:nvPr/>
            </p:nvSpPr>
            <p:spPr>
              <a:xfrm>
                <a:off x="2762966" y="8373278"/>
                <a:ext cx="2016288" cy="0"/>
              </a:xfrm>
              <a:prstGeom prst="line">
                <a:avLst/>
              </a:prstGeom>
              <a:ln w="6350" cap="flat">
                <a:solidFill>
                  <a:srgbClr val="2B4854">
                    <a:alpha val="36863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7" name="AutoShape 47"/>
              <p:cNvSpPr/>
              <p:nvPr/>
            </p:nvSpPr>
            <p:spPr>
              <a:xfrm>
                <a:off x="2762966" y="8731655"/>
                <a:ext cx="2016288" cy="0"/>
              </a:xfrm>
              <a:prstGeom prst="line">
                <a:avLst/>
              </a:prstGeom>
              <a:ln w="6350" cap="flat">
                <a:solidFill>
                  <a:srgbClr val="2B4854">
                    <a:alpha val="36863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8" name="AutoShape 48"/>
              <p:cNvSpPr/>
              <p:nvPr/>
            </p:nvSpPr>
            <p:spPr>
              <a:xfrm>
                <a:off x="2762966" y="9090032"/>
                <a:ext cx="2016288" cy="0"/>
              </a:xfrm>
              <a:prstGeom prst="line">
                <a:avLst/>
              </a:prstGeom>
              <a:ln w="6350" cap="flat">
                <a:solidFill>
                  <a:srgbClr val="2B4854">
                    <a:alpha val="36863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9" name="AutoShape 49"/>
              <p:cNvSpPr/>
              <p:nvPr/>
            </p:nvSpPr>
            <p:spPr>
              <a:xfrm>
                <a:off x="2762966" y="9448410"/>
                <a:ext cx="2016288" cy="0"/>
              </a:xfrm>
              <a:prstGeom prst="line">
                <a:avLst/>
              </a:prstGeom>
              <a:ln w="6350" cap="flat">
                <a:solidFill>
                  <a:srgbClr val="2B4854">
                    <a:alpha val="36863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50" name="AutoShape 50"/>
              <p:cNvSpPr/>
              <p:nvPr/>
            </p:nvSpPr>
            <p:spPr>
              <a:xfrm>
                <a:off x="2762966" y="9806787"/>
                <a:ext cx="2016288" cy="0"/>
              </a:xfrm>
              <a:prstGeom prst="line">
                <a:avLst/>
              </a:prstGeom>
              <a:ln w="6350" cap="flat">
                <a:solidFill>
                  <a:srgbClr val="2B4854">
                    <a:alpha val="36863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51" name="AutoShape 51"/>
              <p:cNvSpPr/>
              <p:nvPr/>
            </p:nvSpPr>
            <p:spPr>
              <a:xfrm>
                <a:off x="2762966" y="10165164"/>
                <a:ext cx="2016288" cy="0"/>
              </a:xfrm>
              <a:prstGeom prst="line">
                <a:avLst/>
              </a:prstGeom>
              <a:ln w="6350" cap="flat">
                <a:solidFill>
                  <a:srgbClr val="2B4854">
                    <a:alpha val="36863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53" name="AutoShape 53"/>
              <p:cNvSpPr/>
              <p:nvPr/>
            </p:nvSpPr>
            <p:spPr>
              <a:xfrm>
                <a:off x="5044593" y="6223014"/>
                <a:ext cx="2016288" cy="0"/>
              </a:xfrm>
              <a:prstGeom prst="line">
                <a:avLst/>
              </a:prstGeom>
              <a:ln w="6350" cap="flat">
                <a:solidFill>
                  <a:srgbClr val="2B4854">
                    <a:alpha val="36863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54" name="AutoShape 54"/>
              <p:cNvSpPr/>
              <p:nvPr/>
            </p:nvSpPr>
            <p:spPr>
              <a:xfrm>
                <a:off x="5044593" y="5864637"/>
                <a:ext cx="2016288" cy="0"/>
              </a:xfrm>
              <a:prstGeom prst="line">
                <a:avLst/>
              </a:prstGeom>
              <a:ln w="6350" cap="flat">
                <a:solidFill>
                  <a:srgbClr val="2B4854">
                    <a:alpha val="36863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55" name="AutoShape 55"/>
              <p:cNvSpPr/>
              <p:nvPr/>
            </p:nvSpPr>
            <p:spPr>
              <a:xfrm>
                <a:off x="5044593" y="6581392"/>
                <a:ext cx="2016288" cy="0"/>
              </a:xfrm>
              <a:prstGeom prst="line">
                <a:avLst/>
              </a:prstGeom>
              <a:ln w="6350" cap="flat">
                <a:solidFill>
                  <a:srgbClr val="2B4854">
                    <a:alpha val="36863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56" name="AutoShape 56"/>
              <p:cNvSpPr/>
              <p:nvPr/>
            </p:nvSpPr>
            <p:spPr>
              <a:xfrm>
                <a:off x="5044593" y="6939769"/>
                <a:ext cx="2016288" cy="0"/>
              </a:xfrm>
              <a:prstGeom prst="line">
                <a:avLst/>
              </a:prstGeom>
              <a:ln w="6350" cap="flat">
                <a:solidFill>
                  <a:srgbClr val="2B4854">
                    <a:alpha val="36863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57" name="AutoShape 57"/>
              <p:cNvSpPr/>
              <p:nvPr/>
            </p:nvSpPr>
            <p:spPr>
              <a:xfrm>
                <a:off x="5044593" y="7298146"/>
                <a:ext cx="2016288" cy="0"/>
              </a:xfrm>
              <a:prstGeom prst="line">
                <a:avLst/>
              </a:prstGeom>
              <a:ln w="6350" cap="flat">
                <a:solidFill>
                  <a:srgbClr val="2B4854">
                    <a:alpha val="36863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58" name="AutoShape 58"/>
              <p:cNvSpPr/>
              <p:nvPr/>
            </p:nvSpPr>
            <p:spPr>
              <a:xfrm>
                <a:off x="5044593" y="7656523"/>
                <a:ext cx="2016288" cy="0"/>
              </a:xfrm>
              <a:prstGeom prst="line">
                <a:avLst/>
              </a:prstGeom>
              <a:ln w="6350" cap="flat">
                <a:solidFill>
                  <a:srgbClr val="2B4854">
                    <a:alpha val="36863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59" name="AutoShape 59"/>
              <p:cNvSpPr/>
              <p:nvPr/>
            </p:nvSpPr>
            <p:spPr>
              <a:xfrm>
                <a:off x="5044593" y="8014901"/>
                <a:ext cx="2016288" cy="0"/>
              </a:xfrm>
              <a:prstGeom prst="line">
                <a:avLst/>
              </a:prstGeom>
              <a:ln w="6350" cap="flat">
                <a:solidFill>
                  <a:srgbClr val="2B4854">
                    <a:alpha val="36863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60" name="AutoShape 60"/>
              <p:cNvSpPr/>
              <p:nvPr/>
            </p:nvSpPr>
            <p:spPr>
              <a:xfrm>
                <a:off x="5044593" y="8373278"/>
                <a:ext cx="2016288" cy="0"/>
              </a:xfrm>
              <a:prstGeom prst="line">
                <a:avLst/>
              </a:prstGeom>
              <a:ln w="6350" cap="flat">
                <a:solidFill>
                  <a:srgbClr val="2B4854">
                    <a:alpha val="36863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61" name="AutoShape 61"/>
              <p:cNvSpPr/>
              <p:nvPr/>
            </p:nvSpPr>
            <p:spPr>
              <a:xfrm>
                <a:off x="5044593" y="8731655"/>
                <a:ext cx="2016288" cy="0"/>
              </a:xfrm>
              <a:prstGeom prst="line">
                <a:avLst/>
              </a:prstGeom>
              <a:ln w="6350" cap="flat">
                <a:solidFill>
                  <a:srgbClr val="2B4854">
                    <a:alpha val="36863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62" name="AutoShape 62"/>
              <p:cNvSpPr/>
              <p:nvPr/>
            </p:nvSpPr>
            <p:spPr>
              <a:xfrm>
                <a:off x="5044593" y="9090032"/>
                <a:ext cx="2016288" cy="0"/>
              </a:xfrm>
              <a:prstGeom prst="line">
                <a:avLst/>
              </a:prstGeom>
              <a:ln w="6350" cap="flat">
                <a:solidFill>
                  <a:srgbClr val="2B4854">
                    <a:alpha val="36863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63" name="AutoShape 63"/>
              <p:cNvSpPr/>
              <p:nvPr/>
            </p:nvSpPr>
            <p:spPr>
              <a:xfrm>
                <a:off x="5044593" y="9448410"/>
                <a:ext cx="2016288" cy="0"/>
              </a:xfrm>
              <a:prstGeom prst="line">
                <a:avLst/>
              </a:prstGeom>
              <a:ln w="6350" cap="flat">
                <a:solidFill>
                  <a:srgbClr val="2B4854">
                    <a:alpha val="36863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64" name="AutoShape 64"/>
              <p:cNvSpPr/>
              <p:nvPr/>
            </p:nvSpPr>
            <p:spPr>
              <a:xfrm>
                <a:off x="5044593" y="9806787"/>
                <a:ext cx="2016288" cy="0"/>
              </a:xfrm>
              <a:prstGeom prst="line">
                <a:avLst/>
              </a:prstGeom>
              <a:ln w="6350" cap="flat">
                <a:solidFill>
                  <a:srgbClr val="2B4854">
                    <a:alpha val="36863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65" name="AutoShape 65"/>
              <p:cNvSpPr/>
              <p:nvPr/>
            </p:nvSpPr>
            <p:spPr>
              <a:xfrm>
                <a:off x="5044593" y="10165164"/>
                <a:ext cx="2016288" cy="0"/>
              </a:xfrm>
              <a:prstGeom prst="line">
                <a:avLst/>
              </a:prstGeom>
              <a:ln w="6350" cap="flat">
                <a:solidFill>
                  <a:srgbClr val="2B4854">
                    <a:alpha val="36863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</p:grpSp>
        <p:grpSp>
          <p:nvGrpSpPr>
            <p:cNvPr id="81" name="Text">
              <a:extLst>
                <a:ext uri="{FF2B5EF4-FFF2-40B4-BE49-F238E27FC236}">
                  <a16:creationId xmlns:a16="http://schemas.microsoft.com/office/drawing/2014/main" id="{2490A517-A021-8A17-B0A3-0F762B6A6C2F}"/>
                </a:ext>
              </a:extLst>
            </p:cNvPr>
            <p:cNvGrpSpPr/>
            <p:nvPr/>
          </p:nvGrpSpPr>
          <p:grpSpPr>
            <a:xfrm>
              <a:off x="249674" y="362612"/>
              <a:ext cx="7094326" cy="4828336"/>
              <a:chOff x="249674" y="362612"/>
              <a:chExt cx="7094326" cy="4828336"/>
            </a:xfrm>
          </p:grpSpPr>
          <p:sp>
            <p:nvSpPr>
              <p:cNvPr id="16" name="TextBox 16"/>
              <p:cNvSpPr txBox="1"/>
              <p:nvPr/>
            </p:nvSpPr>
            <p:spPr>
              <a:xfrm>
                <a:off x="249674" y="497809"/>
                <a:ext cx="1368446" cy="919034"/>
              </a:xfrm>
              <a:prstGeom prst="rect">
                <a:avLst/>
              </a:prstGeom>
            </p:spPr>
            <p:txBody>
              <a:bodyPr lIns="0" tIns="91440" rIns="0" bIns="0" rtlCol="0" anchor="t">
                <a:spAutoFit/>
              </a:bodyPr>
              <a:lstStyle/>
              <a:p>
                <a:pPr algn="l">
                  <a:lnSpc>
                    <a:spcPct val="85000"/>
                  </a:lnSpc>
                </a:pPr>
                <a:r>
                  <a:rPr lang="en-US" sz="6100" spc="-190" dirty="0">
                    <a:solidFill>
                      <a:srgbClr val="FFFEF5"/>
                    </a:solidFill>
                    <a:latin typeface="Chicle"/>
                    <a:ea typeface="Chicle"/>
                    <a:cs typeface="Chicle"/>
                    <a:sym typeface="Chicle"/>
                  </a:rPr>
                  <a:t>TACO</a:t>
                </a:r>
              </a:p>
            </p:txBody>
          </p:sp>
          <p:sp>
            <p:nvSpPr>
              <p:cNvPr id="17" name="TextBox 17"/>
              <p:cNvSpPr txBox="1"/>
              <p:nvPr/>
            </p:nvSpPr>
            <p:spPr>
              <a:xfrm>
                <a:off x="249674" y="362612"/>
                <a:ext cx="1097937" cy="177293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l"/>
                <a:r>
                  <a:rPr lang="en-US" sz="1152" spc="-35" dirty="0">
                    <a:solidFill>
                      <a:srgbClr val="FFFEF5">
                        <a:alpha val="80000"/>
                      </a:srgbClr>
                    </a:solidFill>
                    <a:latin typeface="Chicle"/>
                    <a:ea typeface="Chicle"/>
                    <a:cs typeface="Chicle"/>
                    <a:sym typeface="Chicle"/>
                  </a:rPr>
                  <a:t>SIGN UP SHEET</a:t>
                </a:r>
              </a:p>
            </p:txBody>
          </p:sp>
          <p:sp>
            <p:nvSpPr>
              <p:cNvPr id="18" name="TextBox 18"/>
              <p:cNvSpPr txBox="1"/>
              <p:nvPr/>
            </p:nvSpPr>
            <p:spPr>
              <a:xfrm>
                <a:off x="5760310" y="4360824"/>
                <a:ext cx="1565910" cy="19633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spcBef>
                    <a:spcPct val="0"/>
                  </a:spcBef>
                </a:pPr>
                <a:r>
                  <a:rPr lang="en-US" sz="1276" spc="-31" dirty="0">
                    <a:solidFill>
                      <a:srgbClr val="FFFEF5"/>
                    </a:solidFill>
                    <a:latin typeface="Chicle"/>
                    <a:ea typeface="Chicle"/>
                    <a:cs typeface="Chicle"/>
                    <a:sym typeface="Chicle"/>
                  </a:rPr>
                  <a:t>Good Restaurant</a:t>
                </a:r>
              </a:p>
            </p:txBody>
          </p:sp>
          <p:sp>
            <p:nvSpPr>
              <p:cNvPr id="19" name="TextBox 19"/>
              <p:cNvSpPr txBox="1"/>
              <p:nvPr/>
            </p:nvSpPr>
            <p:spPr>
              <a:xfrm>
                <a:off x="5760310" y="4518221"/>
                <a:ext cx="1583690" cy="19633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spcBef>
                    <a:spcPct val="0"/>
                  </a:spcBef>
                </a:pPr>
                <a:r>
                  <a:rPr lang="en-US" sz="1276" spc="-31" dirty="0">
                    <a:solidFill>
                      <a:srgbClr val="FFFEF5">
                        <a:alpha val="80000"/>
                      </a:srgbClr>
                    </a:solidFill>
                    <a:latin typeface="Chicle"/>
                    <a:ea typeface="Chicle"/>
                    <a:cs typeface="Chicle"/>
                    <a:sym typeface="Chicle"/>
                  </a:rPr>
                  <a:t>123 Main Street Hometown, USA</a:t>
                </a:r>
              </a:p>
            </p:txBody>
          </p:sp>
          <p:sp>
            <p:nvSpPr>
              <p:cNvPr id="20" name="TextBox 20"/>
              <p:cNvSpPr txBox="1"/>
              <p:nvPr/>
            </p:nvSpPr>
            <p:spPr>
              <a:xfrm>
                <a:off x="4993161" y="4030126"/>
                <a:ext cx="699684" cy="718915"/>
              </a:xfrm>
              <a:prstGeom prst="rect">
                <a:avLst/>
              </a:prstGeom>
            </p:spPr>
            <p:txBody>
              <a:bodyPr lIns="0" tIns="91440" rIns="0" bIns="0" rtlCol="0" anchor="t">
                <a:spAutoFit/>
              </a:bodyPr>
              <a:lstStyle/>
              <a:p>
                <a:pPr algn="just">
                  <a:lnSpc>
                    <a:spcPts val="2351"/>
                  </a:lnSpc>
                </a:pPr>
                <a:r>
                  <a:rPr lang="en-US" sz="2351" spc="-58" dirty="0">
                    <a:solidFill>
                      <a:srgbClr val="FFFEF5"/>
                    </a:solidFill>
                    <a:latin typeface="Chicle"/>
                    <a:ea typeface="Chicle"/>
                    <a:cs typeface="Chicle"/>
                    <a:sym typeface="Chicle"/>
                  </a:rPr>
                  <a:t>08/08</a:t>
                </a:r>
              </a:p>
              <a:p>
                <a:pPr algn="just">
                  <a:lnSpc>
                    <a:spcPts val="2351"/>
                  </a:lnSpc>
                </a:pPr>
                <a:r>
                  <a:rPr lang="en-US" sz="2351" spc="-58" dirty="0">
                    <a:solidFill>
                      <a:srgbClr val="FFFEF5"/>
                    </a:solidFill>
                    <a:latin typeface="Chicle"/>
                    <a:ea typeface="Chicle"/>
                    <a:cs typeface="Chicle"/>
                    <a:sym typeface="Chicle"/>
                  </a:rPr>
                  <a:t>15 PM</a:t>
                </a:r>
              </a:p>
            </p:txBody>
          </p:sp>
          <p:sp>
            <p:nvSpPr>
              <p:cNvPr id="21" name="TextBox 21"/>
              <p:cNvSpPr txBox="1"/>
              <p:nvPr/>
            </p:nvSpPr>
            <p:spPr>
              <a:xfrm>
                <a:off x="921125" y="5067837"/>
                <a:ext cx="1097937" cy="12311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/>
                <a:r>
                  <a:rPr lang="en-US" sz="800" spc="-24" dirty="0">
                    <a:solidFill>
                      <a:srgbClr val="2B4854"/>
                    </a:solidFill>
                    <a:latin typeface="Fredoka SemiBold" pitchFamily="2" charset="-79"/>
                    <a:ea typeface="Fredoka Semi-Bold"/>
                    <a:cs typeface="Fredoka SemiBold" pitchFamily="2" charset="-79"/>
                    <a:sym typeface="Fredoka Semi-Bold"/>
                  </a:rPr>
                  <a:t>FULL NAME</a:t>
                </a:r>
              </a:p>
            </p:txBody>
          </p:sp>
          <p:sp>
            <p:nvSpPr>
              <p:cNvPr id="22" name="TextBox 22"/>
              <p:cNvSpPr txBox="1"/>
              <p:nvPr/>
            </p:nvSpPr>
            <p:spPr>
              <a:xfrm>
                <a:off x="3222142" y="5067837"/>
                <a:ext cx="1097937" cy="12311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/>
                <a:r>
                  <a:rPr lang="en-US" sz="800" spc="-24" dirty="0">
                    <a:solidFill>
                      <a:srgbClr val="2B4854"/>
                    </a:solidFill>
                    <a:latin typeface="Fredoka SemiBold" pitchFamily="2" charset="-79"/>
                    <a:ea typeface="Fredoka Semi-Bold"/>
                    <a:cs typeface="Fredoka SemiBold" pitchFamily="2" charset="-79"/>
                    <a:sym typeface="Fredoka Semi-Bold"/>
                  </a:rPr>
                  <a:t>PHONE</a:t>
                </a:r>
              </a:p>
            </p:txBody>
          </p:sp>
          <p:sp>
            <p:nvSpPr>
              <p:cNvPr id="23" name="TextBox 23"/>
              <p:cNvSpPr txBox="1"/>
              <p:nvPr/>
            </p:nvSpPr>
            <p:spPr>
              <a:xfrm>
                <a:off x="5503768" y="5067837"/>
                <a:ext cx="1097937" cy="12311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/>
                <a:r>
                  <a:rPr lang="en-US" sz="800" spc="-24" dirty="0">
                    <a:solidFill>
                      <a:srgbClr val="2B4854"/>
                    </a:solidFill>
                    <a:latin typeface="Fredoka SemiBold" pitchFamily="2" charset="-79"/>
                    <a:ea typeface="Fredoka Semi-Bold"/>
                    <a:cs typeface="Fredoka SemiBold" pitchFamily="2" charset="-79"/>
                    <a:sym typeface="Fredoka Semi-Bold"/>
                  </a:rPr>
                  <a:t>WILL BRING</a:t>
                </a:r>
              </a:p>
            </p:txBody>
          </p:sp>
          <p:sp>
            <p:nvSpPr>
              <p:cNvPr id="79" name="TextBox 16">
                <a:extLst>
                  <a:ext uri="{FF2B5EF4-FFF2-40B4-BE49-F238E27FC236}">
                    <a16:creationId xmlns:a16="http://schemas.microsoft.com/office/drawing/2014/main" id="{34A16A1C-11DF-863A-41C8-D6A0D632A730}"/>
                  </a:ext>
                </a:extLst>
              </p:cNvPr>
              <p:cNvSpPr txBox="1"/>
              <p:nvPr/>
            </p:nvSpPr>
            <p:spPr>
              <a:xfrm>
                <a:off x="249674" y="1180054"/>
                <a:ext cx="1368446" cy="919034"/>
              </a:xfrm>
              <a:prstGeom prst="rect">
                <a:avLst/>
              </a:prstGeom>
            </p:spPr>
            <p:txBody>
              <a:bodyPr lIns="0" tIns="91440" rIns="0" bIns="0" rtlCol="0" anchor="t">
                <a:spAutoFit/>
              </a:bodyPr>
              <a:lstStyle/>
              <a:p>
                <a:pPr algn="l">
                  <a:lnSpc>
                    <a:spcPct val="85000"/>
                  </a:lnSpc>
                </a:pPr>
                <a:r>
                  <a:rPr lang="vi-VN" sz="6100" spc="-190" dirty="0">
                    <a:solidFill>
                      <a:srgbClr val="FFFEF5"/>
                    </a:solidFill>
                    <a:latin typeface="Chicle"/>
                    <a:ea typeface="Chicle"/>
                    <a:cs typeface="Chicle"/>
                    <a:sym typeface="Chicle"/>
                  </a:rPr>
                  <a:t>BAR</a:t>
                </a:r>
                <a:endParaRPr lang="en-US" sz="6100" spc="-190" dirty="0">
                  <a:solidFill>
                    <a:srgbClr val="FFFEF5"/>
                  </a:solidFill>
                  <a:latin typeface="Chicle"/>
                  <a:ea typeface="Chicle"/>
                  <a:cs typeface="Chicle"/>
                  <a:sym typeface="Chicle"/>
                </a:endParaRPr>
              </a:p>
            </p:txBody>
          </p:sp>
        </p:grpSp>
        <p:sp>
          <p:nvSpPr>
            <p:cNvPr id="66" name="QuickSignup"/>
            <p:cNvSpPr/>
            <p:nvPr/>
          </p:nvSpPr>
          <p:spPr>
            <a:xfrm>
              <a:off x="341158" y="4470422"/>
              <a:ext cx="660903" cy="133213"/>
            </a:xfrm>
            <a:custGeom>
              <a:avLst/>
              <a:gdLst/>
              <a:ahLst/>
              <a:cxnLst/>
              <a:rect l="l" t="t" r="r" b="b"/>
              <a:pathLst>
                <a:path w="660903" h="133213">
                  <a:moveTo>
                    <a:pt x="0" y="0"/>
                  </a:moveTo>
                  <a:lnTo>
                    <a:pt x="660903" y="0"/>
                  </a:lnTo>
                  <a:lnTo>
                    <a:pt x="660903" y="133213"/>
                  </a:lnTo>
                  <a:lnTo>
                    <a:pt x="0" y="13321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5">
                <a:alphaModFix amt="70000"/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a:blipFill>
            <a:ln cap="sq">
              <a:noFill/>
              <a:prstDash val="solid"/>
              <a:miter/>
            </a:ln>
          </p:spPr>
          <p:txBody>
            <a:bodyPr/>
            <a:lstStyle/>
            <a:p>
              <a:endParaRPr lang="en-US" dirty="0"/>
            </a:p>
          </p:txBody>
        </p:sp>
      </p:grpSp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4</TotalTime>
  <Words>22</Words>
  <Application>Microsoft Office PowerPoint</Application>
  <PresentationFormat>Custom</PresentationFormat>
  <Paragraphs>11</Paragraphs>
  <Slides>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Fredoka SemiBold</vt:lpstr>
      <vt:lpstr>Aptos</vt:lpstr>
      <vt:lpstr>Chicle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CK (DỌC)</dc:title>
  <dc:creator>Hoang Anh</dc:creator>
  <cp:lastModifiedBy>Anh Hoang</cp:lastModifiedBy>
  <cp:revision>38</cp:revision>
  <dcterms:created xsi:type="dcterms:W3CDTF">2006-08-16T00:00:00Z</dcterms:created>
  <dcterms:modified xsi:type="dcterms:W3CDTF">2024-08-09T14:51:03Z</dcterms:modified>
  <dc:identifier>DAGNPBWBXB4</dc:identifier>
</cp:coreProperties>
</file>